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7"/>
  </p:notesMasterIdLst>
  <p:sldIdLst>
    <p:sldId id="366" r:id="rId2"/>
    <p:sldId id="370" r:id="rId3"/>
    <p:sldId id="371" r:id="rId4"/>
    <p:sldId id="372" r:id="rId5"/>
    <p:sldId id="368" r:id="rId6"/>
  </p:sldIdLst>
  <p:sldSz cx="12192000" cy="6858000"/>
  <p:notesSz cx="6858000" cy="9144000"/>
  <p:embeddedFontLst>
    <p:embeddedFont>
      <p:font typeface="Open Sans" panose="020B0606030504020204" pitchFamily="34" charset="0"/>
      <p:regular r:id="rId8"/>
      <p:bold r:id="rId9"/>
      <p:italic r:id="rId10"/>
      <p:boldItalic r:id="rId11"/>
    </p:embeddedFont>
    <p:embeddedFont>
      <p:font typeface="Rubik" panose="00000500000000000000" pitchFamily="50" charset="-79"/>
      <p:regular r:id="rId12"/>
      <p:bold r:id="rId13"/>
      <p:italic r:id="rId14"/>
    </p:embeddedFont>
    <p:embeddedFont>
      <p:font typeface="Trebuchet MS" panose="020B0603020202020204" pitchFamily="34" charset="0"/>
      <p:regular r:id="rId15"/>
      <p:bold r:id="rId16"/>
      <p:italic r:id="rId17"/>
      <p:boldItalic r:id="rId18"/>
    </p:embeddedFont>
  </p:embeddedFontLst>
  <p:custDataLst>
    <p:tags r:id="rId19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8ECE7D-982B-4869-946D-3632D5D9DB9A}" v="20" dt="2022-02-01T15:33:32.862"/>
  </p1510:revLst>
</p1510:revInfo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howGuides="1">
      <p:cViewPr>
        <p:scale>
          <a:sx n="70" d="100"/>
          <a:sy n="70" d="100"/>
        </p:scale>
        <p:origin x="414" y="-17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font" Target="fonts/font11.fntdata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font" Target="fonts/font9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4.fntdata"/><Relationship Id="rId24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font" Target="fonts/font8.fntdata"/><Relationship Id="rId23" Type="http://schemas.openxmlformats.org/officeDocument/2006/relationships/tableStyles" Target="tableStyles.xml"/><Relationship Id="rId10" Type="http://schemas.openxmlformats.org/officeDocument/2006/relationships/font" Target="fonts/font3.fntdata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, Thamaraiselvi" userId="cf793970-828d-44e3-9a0e-49fe76062396" providerId="ADAL" clId="{A58ECE7D-982B-4869-946D-3632D5D9DB9A}"/>
    <pc:docChg chg="undo redo custSel addSld delSld modSld sldOrd">
      <pc:chgData name="T, Thamaraiselvi" userId="cf793970-828d-44e3-9a0e-49fe76062396" providerId="ADAL" clId="{A58ECE7D-982B-4869-946D-3632D5D9DB9A}" dt="2022-02-01T15:36:35.344" v="571" actId="120"/>
      <pc:docMkLst>
        <pc:docMk/>
      </pc:docMkLst>
      <pc:sldChg chg="addSp delSp modSp mod">
        <pc:chgData name="T, Thamaraiselvi" userId="cf793970-828d-44e3-9a0e-49fe76062396" providerId="ADAL" clId="{A58ECE7D-982B-4869-946D-3632D5D9DB9A}" dt="2022-02-01T15:06:30.774" v="191" actId="14100"/>
        <pc:sldMkLst>
          <pc:docMk/>
          <pc:sldMk cId="684571084" sldId="366"/>
        </pc:sldMkLst>
        <pc:spChg chg="add del mod">
          <ac:chgData name="T, Thamaraiselvi" userId="cf793970-828d-44e3-9a0e-49fe76062396" providerId="ADAL" clId="{A58ECE7D-982B-4869-946D-3632D5D9DB9A}" dt="2022-02-01T14:55:03.286" v="7" actId="478"/>
          <ac:spMkLst>
            <pc:docMk/>
            <pc:sldMk cId="684571084" sldId="366"/>
            <ac:spMk id="9" creationId="{E6C2359D-FBB6-4104-A24F-1A63D5BEA81C}"/>
          </ac:spMkLst>
        </pc:spChg>
        <pc:spChg chg="add del mod">
          <ac:chgData name="T, Thamaraiselvi" userId="cf793970-828d-44e3-9a0e-49fe76062396" providerId="ADAL" clId="{A58ECE7D-982B-4869-946D-3632D5D9DB9A}" dt="2022-02-01T14:55:57.996" v="16" actId="478"/>
          <ac:spMkLst>
            <pc:docMk/>
            <pc:sldMk cId="684571084" sldId="366"/>
            <ac:spMk id="13" creationId="{6926D1CC-A3EE-436B-B7CC-122C2615E3EB}"/>
          </ac:spMkLst>
        </pc:spChg>
        <pc:spChg chg="mod">
          <ac:chgData name="T, Thamaraiselvi" userId="cf793970-828d-44e3-9a0e-49fe76062396" providerId="ADAL" clId="{A58ECE7D-982B-4869-946D-3632D5D9DB9A}" dt="2022-02-01T15:05:11.867" v="182" actId="1076"/>
          <ac:spMkLst>
            <pc:docMk/>
            <pc:sldMk cId="684571084" sldId="366"/>
            <ac:spMk id="16" creationId="{6D6DA9F7-DB64-4567-BE8E-E069C1B10127}"/>
          </ac:spMkLst>
        </pc:spChg>
        <pc:spChg chg="mod">
          <ac:chgData name="T, Thamaraiselvi" userId="cf793970-828d-44e3-9a0e-49fe76062396" providerId="ADAL" clId="{A58ECE7D-982B-4869-946D-3632D5D9DB9A}" dt="2022-02-01T15:06:30.774" v="191" actId="14100"/>
          <ac:spMkLst>
            <pc:docMk/>
            <pc:sldMk cId="684571084" sldId="366"/>
            <ac:spMk id="17" creationId="{86EFEFE6-40D8-4F98-A8DC-DB4A69331A78}"/>
          </ac:spMkLst>
        </pc:spChg>
        <pc:spChg chg="mod">
          <ac:chgData name="T, Thamaraiselvi" userId="cf793970-828d-44e3-9a0e-49fe76062396" providerId="ADAL" clId="{A58ECE7D-982B-4869-946D-3632D5D9DB9A}" dt="2022-02-01T15:06:05.703" v="188" actId="113"/>
          <ac:spMkLst>
            <pc:docMk/>
            <pc:sldMk cId="684571084" sldId="366"/>
            <ac:spMk id="18" creationId="{1A8455E1-E124-45CE-B4DD-AE99CCF9A248}"/>
          </ac:spMkLst>
        </pc:spChg>
        <pc:spChg chg="add del">
          <ac:chgData name="T, Thamaraiselvi" userId="cf793970-828d-44e3-9a0e-49fe76062396" providerId="ADAL" clId="{A58ECE7D-982B-4869-946D-3632D5D9DB9A}" dt="2022-02-01T15:01:08.905" v="101" actId="22"/>
          <ac:spMkLst>
            <pc:docMk/>
            <pc:sldMk cId="684571084" sldId="366"/>
            <ac:spMk id="19" creationId="{BBAF474D-C48B-47A3-AD43-776B973A4A16}"/>
          </ac:spMkLst>
        </pc:spChg>
        <pc:spChg chg="add del mod">
          <ac:chgData name="T, Thamaraiselvi" userId="cf793970-828d-44e3-9a0e-49fe76062396" providerId="ADAL" clId="{A58ECE7D-982B-4869-946D-3632D5D9DB9A}" dt="2022-02-01T14:58:40.497" v="66" actId="478"/>
          <ac:spMkLst>
            <pc:docMk/>
            <pc:sldMk cId="684571084" sldId="366"/>
            <ac:spMk id="25" creationId="{D1AA2D20-E6EA-432A-8C56-8C111C909758}"/>
          </ac:spMkLst>
        </pc:spChg>
        <pc:spChg chg="add del mod">
          <ac:chgData name="T, Thamaraiselvi" userId="cf793970-828d-44e3-9a0e-49fe76062396" providerId="ADAL" clId="{A58ECE7D-982B-4869-946D-3632D5D9DB9A}" dt="2022-02-01T14:59:47.620" v="77" actId="478"/>
          <ac:spMkLst>
            <pc:docMk/>
            <pc:sldMk cId="684571084" sldId="366"/>
            <ac:spMk id="31" creationId="{07CC9448-34B9-40EC-8036-E1938EBF3A20}"/>
          </ac:spMkLst>
        </pc:spChg>
        <pc:picChg chg="add del mod ord modCrop">
          <ac:chgData name="T, Thamaraiselvi" userId="cf793970-828d-44e3-9a0e-49fe76062396" providerId="ADAL" clId="{A58ECE7D-982B-4869-946D-3632D5D9DB9A}" dt="2022-02-01T14:53:59.683" v="3" actId="22"/>
          <ac:picMkLst>
            <pc:docMk/>
            <pc:sldMk cId="684571084" sldId="366"/>
            <ac:picMk id="3" creationId="{54CC4C7C-42D1-4CE5-A66D-06BDBEE9F4F7}"/>
          </ac:picMkLst>
        </pc:picChg>
        <pc:picChg chg="add del mod ord modCrop">
          <ac:chgData name="T, Thamaraiselvi" userId="cf793970-828d-44e3-9a0e-49fe76062396" providerId="ADAL" clId="{A58ECE7D-982B-4869-946D-3632D5D9DB9A}" dt="2022-02-01T14:55:04.792" v="9" actId="22"/>
          <ac:picMkLst>
            <pc:docMk/>
            <pc:sldMk cId="684571084" sldId="366"/>
            <ac:picMk id="5" creationId="{0C64F7E8-0607-4C57-9F9F-AAA19C422485}"/>
          </ac:picMkLst>
        </pc:picChg>
        <pc:picChg chg="add del mod ord modCrop">
          <ac:chgData name="T, Thamaraiselvi" userId="cf793970-828d-44e3-9a0e-49fe76062396" providerId="ADAL" clId="{A58ECE7D-982B-4869-946D-3632D5D9DB9A}" dt="2022-02-01T14:56:00.801" v="19" actId="22"/>
          <ac:picMkLst>
            <pc:docMk/>
            <pc:sldMk cId="684571084" sldId="366"/>
            <ac:picMk id="11" creationId="{1D473C93-B3A9-4DCD-A4B9-E3F202795627}"/>
          </ac:picMkLst>
        </pc:picChg>
        <pc:picChg chg="add del mod ord modCrop">
          <ac:chgData name="T, Thamaraiselvi" userId="cf793970-828d-44e3-9a0e-49fe76062396" providerId="ADAL" clId="{A58ECE7D-982B-4869-946D-3632D5D9DB9A}" dt="2022-02-01T14:56:25.124" v="42" actId="22"/>
          <ac:picMkLst>
            <pc:docMk/>
            <pc:sldMk cId="684571084" sldId="366"/>
            <ac:picMk id="15" creationId="{DC3AE12B-3BB6-4771-A539-48999406B63A}"/>
          </ac:picMkLst>
        </pc:picChg>
        <pc:picChg chg="add del mod">
          <ac:chgData name="T, Thamaraiselvi" userId="cf793970-828d-44e3-9a0e-49fe76062396" providerId="ADAL" clId="{A58ECE7D-982B-4869-946D-3632D5D9DB9A}" dt="2022-02-01T14:57:45.002" v="56" actId="931"/>
          <ac:picMkLst>
            <pc:docMk/>
            <pc:sldMk cId="684571084" sldId="366"/>
            <ac:picMk id="21" creationId="{3F5571A1-48D5-4F06-AC8A-EDCE87531054}"/>
          </ac:picMkLst>
        </pc:picChg>
        <pc:picChg chg="add del mod ord modCrop">
          <ac:chgData name="T, Thamaraiselvi" userId="cf793970-828d-44e3-9a0e-49fe76062396" providerId="ADAL" clId="{A58ECE7D-982B-4869-946D-3632D5D9DB9A}" dt="2022-02-01T14:58:41.302" v="68" actId="22"/>
          <ac:picMkLst>
            <pc:docMk/>
            <pc:sldMk cId="684571084" sldId="366"/>
            <ac:picMk id="23" creationId="{EF196ED4-68FF-454D-A32A-8792717769D8}"/>
          </ac:picMkLst>
        </pc:picChg>
        <pc:picChg chg="add del mod ord modCrop">
          <ac:chgData name="T, Thamaraiselvi" userId="cf793970-828d-44e3-9a0e-49fe76062396" providerId="ADAL" clId="{A58ECE7D-982B-4869-946D-3632D5D9DB9A}" dt="2022-02-01T14:58:53.488" v="72" actId="22"/>
          <ac:picMkLst>
            <pc:docMk/>
            <pc:sldMk cId="684571084" sldId="366"/>
            <ac:picMk id="27" creationId="{32E66464-FE48-481A-9492-31D8C8CE5123}"/>
          </ac:picMkLst>
        </pc:picChg>
        <pc:picChg chg="add del mod ord modCrop">
          <ac:chgData name="T, Thamaraiselvi" userId="cf793970-828d-44e3-9a0e-49fe76062396" providerId="ADAL" clId="{A58ECE7D-982B-4869-946D-3632D5D9DB9A}" dt="2022-02-01T14:59:47.945" v="78" actId="22"/>
          <ac:picMkLst>
            <pc:docMk/>
            <pc:sldMk cId="684571084" sldId="366"/>
            <ac:picMk id="29" creationId="{73A48E4B-0176-402B-B0EA-1DCFC7837A91}"/>
          </ac:picMkLst>
        </pc:picChg>
        <pc:picChg chg="add del mod ord modCrop">
          <ac:chgData name="T, Thamaraiselvi" userId="cf793970-828d-44e3-9a0e-49fe76062396" providerId="ADAL" clId="{A58ECE7D-982B-4869-946D-3632D5D9DB9A}" dt="2022-02-01T15:00:45.708" v="98" actId="22"/>
          <ac:picMkLst>
            <pc:docMk/>
            <pc:sldMk cId="684571084" sldId="366"/>
            <ac:picMk id="33" creationId="{23737F3D-256B-4D77-BF75-7024E6E48486}"/>
          </ac:picMkLst>
        </pc:picChg>
        <pc:picChg chg="add del mod ord modCrop">
          <ac:chgData name="T, Thamaraiselvi" userId="cf793970-828d-44e3-9a0e-49fe76062396" providerId="ADAL" clId="{A58ECE7D-982B-4869-946D-3632D5D9DB9A}" dt="2022-02-01T15:01:01.152" v="100" actId="22"/>
          <ac:picMkLst>
            <pc:docMk/>
            <pc:sldMk cId="684571084" sldId="366"/>
            <ac:picMk id="35" creationId="{5338BDAB-65C4-4027-9D21-BC97BF7B73FC}"/>
          </ac:picMkLst>
        </pc:picChg>
        <pc:picChg chg="add mod ord modCrop">
          <ac:chgData name="T, Thamaraiselvi" userId="cf793970-828d-44e3-9a0e-49fe76062396" providerId="ADAL" clId="{A58ECE7D-982B-4869-946D-3632D5D9DB9A}" dt="2022-02-01T15:02:44.833" v="123" actId="1076"/>
          <ac:picMkLst>
            <pc:docMk/>
            <pc:sldMk cId="684571084" sldId="366"/>
            <ac:picMk id="37" creationId="{CA5E99F1-ACDC-407F-9455-C8626625728F}"/>
          </ac:picMkLst>
        </pc:picChg>
        <pc:picChg chg="add mod">
          <ac:chgData name="T, Thamaraiselvi" userId="cf793970-828d-44e3-9a0e-49fe76062396" providerId="ADAL" clId="{A58ECE7D-982B-4869-946D-3632D5D9DB9A}" dt="2022-02-01T15:03:16.798" v="127" actId="14100"/>
          <ac:picMkLst>
            <pc:docMk/>
            <pc:sldMk cId="684571084" sldId="366"/>
            <ac:picMk id="39" creationId="{9C9BCB40-7026-4FF0-93DD-6BD1C10C87FF}"/>
          </ac:picMkLst>
        </pc:picChg>
      </pc:sldChg>
      <pc:sldChg chg="modSp add del mod">
        <pc:chgData name="T, Thamaraiselvi" userId="cf793970-828d-44e3-9a0e-49fe76062396" providerId="ADAL" clId="{A58ECE7D-982B-4869-946D-3632D5D9DB9A}" dt="2022-02-01T15:10:32.433" v="249" actId="2696"/>
        <pc:sldMkLst>
          <pc:docMk/>
          <pc:sldMk cId="1022597847" sldId="367"/>
        </pc:sldMkLst>
        <pc:spChg chg="mod">
          <ac:chgData name="T, Thamaraiselvi" userId="cf793970-828d-44e3-9a0e-49fe76062396" providerId="ADAL" clId="{A58ECE7D-982B-4869-946D-3632D5D9DB9A}" dt="2022-02-01T15:09:04.488" v="196"/>
          <ac:spMkLst>
            <pc:docMk/>
            <pc:sldMk cId="1022597847" sldId="367"/>
            <ac:spMk id="2" creationId="{6F28F343-BA60-4E08-9E39-5B5A8795CDA4}"/>
          </ac:spMkLst>
        </pc:spChg>
        <pc:spChg chg="mod">
          <ac:chgData name="T, Thamaraiselvi" userId="cf793970-828d-44e3-9a0e-49fe76062396" providerId="ADAL" clId="{A58ECE7D-982B-4869-946D-3632D5D9DB9A}" dt="2022-02-01T15:09:41.658" v="221" actId="20577"/>
          <ac:spMkLst>
            <pc:docMk/>
            <pc:sldMk cId="1022597847" sldId="367"/>
            <ac:spMk id="5" creationId="{3A241BE6-0BF2-4E13-B760-9657E2456D22}"/>
          </ac:spMkLst>
        </pc:spChg>
        <pc:spChg chg="mod">
          <ac:chgData name="T, Thamaraiselvi" userId="cf793970-828d-44e3-9a0e-49fe76062396" providerId="ADAL" clId="{A58ECE7D-982B-4869-946D-3632D5D9DB9A}" dt="2022-02-01T15:10:32.285" v="246" actId="12"/>
          <ac:spMkLst>
            <pc:docMk/>
            <pc:sldMk cId="1022597847" sldId="367"/>
            <ac:spMk id="6" creationId="{525CBB0E-B869-4882-8948-65DD257EDC97}"/>
          </ac:spMkLst>
        </pc:spChg>
      </pc:sldChg>
      <pc:sldChg chg="add del">
        <pc:chgData name="T, Thamaraiselvi" userId="cf793970-828d-44e3-9a0e-49fe76062396" providerId="ADAL" clId="{A58ECE7D-982B-4869-946D-3632D5D9DB9A}" dt="2022-02-01T15:10:19.980" v="241"/>
        <pc:sldMkLst>
          <pc:docMk/>
          <pc:sldMk cId="1534332258" sldId="368"/>
        </pc:sldMkLst>
      </pc:sldChg>
      <pc:sldChg chg="del">
        <pc:chgData name="T, Thamaraiselvi" userId="cf793970-828d-44e3-9a0e-49fe76062396" providerId="ADAL" clId="{A58ECE7D-982B-4869-946D-3632D5D9DB9A}" dt="2022-02-01T15:21:01.637" v="410" actId="2696"/>
        <pc:sldMkLst>
          <pc:docMk/>
          <pc:sldMk cId="1336772705" sldId="369"/>
        </pc:sldMkLst>
      </pc:sldChg>
      <pc:sldChg chg="modSp add mod ord">
        <pc:chgData name="T, Thamaraiselvi" userId="cf793970-828d-44e3-9a0e-49fe76062396" providerId="ADAL" clId="{A58ECE7D-982B-4869-946D-3632D5D9DB9A}" dt="2022-02-01T15:16:38.143" v="355" actId="5793"/>
        <pc:sldMkLst>
          <pc:docMk/>
          <pc:sldMk cId="1432000793" sldId="370"/>
        </pc:sldMkLst>
        <pc:spChg chg="mod">
          <ac:chgData name="T, Thamaraiselvi" userId="cf793970-828d-44e3-9a0e-49fe76062396" providerId="ADAL" clId="{A58ECE7D-982B-4869-946D-3632D5D9DB9A}" dt="2022-02-01T15:16:38.143" v="355" actId="5793"/>
          <ac:spMkLst>
            <pc:docMk/>
            <pc:sldMk cId="1432000793" sldId="370"/>
            <ac:spMk id="6" creationId="{525CBB0E-B869-4882-8948-65DD257EDC97}"/>
          </ac:spMkLst>
        </pc:spChg>
      </pc:sldChg>
      <pc:sldChg chg="add del ord">
        <pc:chgData name="T, Thamaraiselvi" userId="cf793970-828d-44e3-9a0e-49fe76062396" providerId="ADAL" clId="{A58ECE7D-982B-4869-946D-3632D5D9DB9A}" dt="2022-02-01T15:10:19.980" v="241"/>
        <pc:sldMkLst>
          <pc:docMk/>
          <pc:sldMk cId="3470112018" sldId="370"/>
        </pc:sldMkLst>
      </pc:sldChg>
      <pc:sldChg chg="add del ord">
        <pc:chgData name="T, Thamaraiselvi" userId="cf793970-828d-44e3-9a0e-49fe76062396" providerId="ADAL" clId="{A58ECE7D-982B-4869-946D-3632D5D9DB9A}" dt="2022-02-01T15:10:14.434" v="236"/>
        <pc:sldMkLst>
          <pc:docMk/>
          <pc:sldMk cId="4212155026" sldId="370"/>
        </pc:sldMkLst>
      </pc:sldChg>
      <pc:sldChg chg="modSp add mod">
        <pc:chgData name="T, Thamaraiselvi" userId="cf793970-828d-44e3-9a0e-49fe76062396" providerId="ADAL" clId="{A58ECE7D-982B-4869-946D-3632D5D9DB9A}" dt="2022-02-01T15:20:05.998" v="408" actId="20577"/>
        <pc:sldMkLst>
          <pc:docMk/>
          <pc:sldMk cId="1408052555" sldId="371"/>
        </pc:sldMkLst>
        <pc:spChg chg="mod">
          <ac:chgData name="T, Thamaraiselvi" userId="cf793970-828d-44e3-9a0e-49fe76062396" providerId="ADAL" clId="{A58ECE7D-982B-4869-946D-3632D5D9DB9A}" dt="2022-02-01T15:17:48.047" v="385"/>
          <ac:spMkLst>
            <pc:docMk/>
            <pc:sldMk cId="1408052555" sldId="371"/>
            <ac:spMk id="2" creationId="{6F28F343-BA60-4E08-9E39-5B5A8795CDA4}"/>
          </ac:spMkLst>
        </pc:spChg>
        <pc:spChg chg="mod">
          <ac:chgData name="T, Thamaraiselvi" userId="cf793970-828d-44e3-9a0e-49fe76062396" providerId="ADAL" clId="{A58ECE7D-982B-4869-946D-3632D5D9DB9A}" dt="2022-02-01T15:17:45.073" v="384" actId="21"/>
          <ac:spMkLst>
            <pc:docMk/>
            <pc:sldMk cId="1408052555" sldId="371"/>
            <ac:spMk id="5" creationId="{3A241BE6-0BF2-4E13-B760-9657E2456D22}"/>
          </ac:spMkLst>
        </pc:spChg>
        <pc:spChg chg="mod">
          <ac:chgData name="T, Thamaraiselvi" userId="cf793970-828d-44e3-9a0e-49fe76062396" providerId="ADAL" clId="{A58ECE7D-982B-4869-946D-3632D5D9DB9A}" dt="2022-02-01T15:20:05.998" v="408" actId="20577"/>
          <ac:spMkLst>
            <pc:docMk/>
            <pc:sldMk cId="1408052555" sldId="371"/>
            <ac:spMk id="6" creationId="{525CBB0E-B869-4882-8948-65DD257EDC97}"/>
          </ac:spMkLst>
        </pc:spChg>
      </pc:sldChg>
      <pc:sldChg chg="addSp delSp modSp add mod">
        <pc:chgData name="T, Thamaraiselvi" userId="cf793970-828d-44e3-9a0e-49fe76062396" providerId="ADAL" clId="{A58ECE7D-982B-4869-946D-3632D5D9DB9A}" dt="2022-02-01T15:36:35.344" v="571" actId="120"/>
        <pc:sldMkLst>
          <pc:docMk/>
          <pc:sldMk cId="1480205119" sldId="372"/>
        </pc:sldMkLst>
        <pc:spChg chg="add del mod">
          <ac:chgData name="T, Thamaraiselvi" userId="cf793970-828d-44e3-9a0e-49fe76062396" providerId="ADAL" clId="{A58ECE7D-982B-4869-946D-3632D5D9DB9A}" dt="2022-02-01T15:24:54.993" v="412" actId="478"/>
          <ac:spMkLst>
            <pc:docMk/>
            <pc:sldMk cId="1480205119" sldId="372"/>
            <ac:spMk id="6" creationId="{56A944E4-B8F7-49E4-86DB-28911CC98396}"/>
          </ac:spMkLst>
        </pc:spChg>
        <pc:spChg chg="mod">
          <ac:chgData name="T, Thamaraiselvi" userId="cf793970-828d-44e3-9a0e-49fe76062396" providerId="ADAL" clId="{A58ECE7D-982B-4869-946D-3632D5D9DB9A}" dt="2022-02-01T15:36:35.344" v="571" actId="120"/>
          <ac:spMkLst>
            <pc:docMk/>
            <pc:sldMk cId="1480205119" sldId="372"/>
            <ac:spMk id="28" creationId="{53B8E1E8-49F4-4789-B379-9DA4C5F4B4B3}"/>
          </ac:spMkLst>
        </pc:spChg>
        <pc:picChg chg="mod">
          <ac:chgData name="T, Thamaraiselvi" userId="cf793970-828d-44e3-9a0e-49fe76062396" providerId="ADAL" clId="{A58ECE7D-982B-4869-946D-3632D5D9DB9A}" dt="2022-02-01T15:31:35.399" v="423" actId="14100"/>
          <ac:picMkLst>
            <pc:docMk/>
            <pc:sldMk cId="1480205119" sldId="372"/>
            <ac:picMk id="12" creationId="{3404DF2C-B6B3-43D1-B7CB-52D9224C7980}"/>
          </ac:picMkLst>
        </pc:picChg>
        <pc:picChg chg="mod">
          <ac:chgData name="T, Thamaraiselvi" userId="cf793970-828d-44e3-9a0e-49fe76062396" providerId="ADAL" clId="{A58ECE7D-982B-4869-946D-3632D5D9DB9A}" dt="2022-02-01T15:28:58.910" v="419" actId="14826"/>
          <ac:picMkLst>
            <pc:docMk/>
            <pc:sldMk cId="1480205119" sldId="372"/>
            <ac:picMk id="14" creationId="{E9B22016-F9D3-4D60-961F-8D7DA54CBC62}"/>
          </ac:picMkLst>
        </pc:picChg>
        <pc:picChg chg="mod">
          <ac:chgData name="T, Thamaraiselvi" userId="cf793970-828d-44e3-9a0e-49fe76062396" providerId="ADAL" clId="{A58ECE7D-982B-4869-946D-3632D5D9DB9A}" dt="2022-02-01T15:26:25.577" v="414" actId="14826"/>
          <ac:picMkLst>
            <pc:docMk/>
            <pc:sldMk cId="1480205119" sldId="372"/>
            <ac:picMk id="16" creationId="{02C6F906-DE24-4EF3-9675-5583F43A4B43}"/>
          </ac:picMkLst>
        </pc:picChg>
        <pc:picChg chg="add del mod">
          <ac:chgData name="T, Thamaraiselvi" userId="cf793970-828d-44e3-9a0e-49fe76062396" providerId="ADAL" clId="{A58ECE7D-982B-4869-946D-3632D5D9DB9A}" dt="2022-02-01T15:25:26.763" v="413" actId="14826"/>
          <ac:picMkLst>
            <pc:docMk/>
            <pc:sldMk cId="1480205119" sldId="372"/>
            <ac:picMk id="20" creationId="{3D9516A1-BC1E-44B5-8392-4D563B41FD53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2/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07493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2/1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2/1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2/1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orkable.readme.io/v3/docs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Placeholder 36">
            <a:extLst>
              <a:ext uri="{FF2B5EF4-FFF2-40B4-BE49-F238E27FC236}">
                <a16:creationId xmlns:a16="http://schemas.microsoft.com/office/drawing/2014/main" id="{CA5E99F1-ACDC-407F-9455-C8626625728F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 rotWithShape="1">
          <a:blip r:embed="rId3"/>
          <a:srcRect l="25650" r="25650"/>
          <a:stretch/>
        </p:blipFill>
        <p:spPr/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336" y="2770048"/>
            <a:ext cx="10080625" cy="3304175"/>
          </a:xfrm>
        </p:spPr>
        <p:txBody>
          <a:bodyPr/>
          <a:lstStyle/>
          <a:p>
            <a:r>
              <a:rPr lang="en-US" dirty="0"/>
              <a:t>W</a:t>
            </a:r>
            <a:r>
              <a:rPr lang="de-DE" dirty="0" err="1"/>
              <a:t>orkable</a:t>
            </a:r>
            <a:r>
              <a:rPr lang="en-US" dirty="0"/>
              <a:t> Provider</a:t>
            </a:r>
          </a:p>
        </p:txBody>
      </p:sp>
      <p:sp>
        <p:nvSpPr>
          <p:cNvPr id="17" name="Subtitle 16">
            <a:extLst>
              <a:ext uri="{FF2B5EF4-FFF2-40B4-BE49-F238E27FC236}">
                <a16:creationId xmlns:a16="http://schemas.microsoft.com/office/drawing/2014/main" id="{86EFEFE6-40D8-4F98-A8DC-DB4A69331A7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69160"/>
            <a:ext cx="5637963" cy="574779"/>
          </a:xfrm>
        </p:spPr>
        <p:txBody>
          <a:bodyPr/>
          <a:lstStyle/>
          <a:p>
            <a:r>
              <a:rPr lang="en-US" b="1" dirty="0"/>
              <a:t>Thamaraiselvi T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400" dirty="0"/>
              <a:t>Participants: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/>
          <a:p>
            <a:fld id="{22FF84AA-2C76-4AF1-8502-73D25D47F37C}" type="slidenum">
              <a:rPr lang="en-US"/>
              <a:pPr/>
              <a:t>1</a:t>
            </a:fld>
            <a:endParaRPr lang="en-US" dirty="0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9C9BCB40-7026-4FF0-93DD-6BD1C10C87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432" y="844125"/>
            <a:ext cx="5328592" cy="1612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</a:t>
            </a:r>
            <a:r>
              <a:rPr lang="de-DE" dirty="0" err="1"/>
              <a:t>orkable</a:t>
            </a:r>
            <a:r>
              <a:rPr lang="en-US" dirty="0"/>
              <a:t> Provide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Workable Provider Detail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>
            <a:lvl1pPr>
              <a:buClr>
                <a:schemeClr val="tx1"/>
              </a:buClr>
              <a:buFont typeface="Wingdings" panose="05000000000000000000" pitchFamily="2" charset="2"/>
              <a:buChar char="§"/>
            </a:lvl1pPr>
            <a:lvl2pPr>
              <a:buClr>
                <a:schemeClr val="tx1"/>
              </a:buClr>
              <a:buFont typeface="Wingdings" panose="05000000000000000000" pitchFamily="2" charset="2"/>
              <a:buChar char="§"/>
            </a:lvl2pPr>
            <a:lvl3pPr>
              <a:buClr>
                <a:schemeClr val="tx1"/>
              </a:buClr>
              <a:buFont typeface="Wingdings" panose="05000000000000000000" pitchFamily="2" charset="2"/>
              <a:buChar char="§"/>
            </a:lvl3pPr>
            <a:lvl4pPr>
              <a:buClr>
                <a:schemeClr val="tx1"/>
              </a:buClr>
              <a:buFont typeface="Symbol" panose="05050102010706020507" pitchFamily="18" charset="2"/>
              <a:buChar char="-"/>
            </a:lvl4pPr>
            <a:lvl5pPr>
              <a:buSzPct val="125000"/>
              <a:buFont typeface="Rubik" panose="00000500000000000000" pitchFamily="50" charset="-79"/>
              <a:buChar char="•"/>
            </a:lvl5pPr>
            <a:lvl6pPr>
              <a:buFont typeface="+mj-lt"/>
              <a:buAutoNum type="arabicPeriod"/>
            </a:lvl6pPr>
          </a:lstStyle>
          <a:p>
            <a:pPr>
              <a:buNone/>
            </a:pPr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webMethods CloudStreams Provider for </a:t>
            </a:r>
            <a:r>
              <a:rPr lang="en-GB" sz="1800" b="1" kern="0" dirty="0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aaS name&gt;</a:t>
            </a:r>
            <a:endParaRPr lang="en-IN" sz="1800" b="1" u="none" strike="noStrike" kern="0" spc="0" dirty="0">
              <a:ln>
                <a:noFill/>
              </a:ln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50240" indent="-285750">
              <a:lnSpc>
                <a:spcPct val="150000"/>
              </a:lnSpc>
              <a:spcBef>
                <a:spcPts val="400"/>
              </a:spcBef>
              <a:spcAft>
                <a:spcPts val="600"/>
              </a:spcAft>
            </a:pPr>
            <a:r>
              <a:rPr lang="en-IN" dirty="0"/>
              <a:t>Workable is a world’s leading recruiting software that finds and hires the right person for every job. </a:t>
            </a:r>
          </a:p>
          <a:p>
            <a:pPr marL="650240" indent="-285750">
              <a:lnSpc>
                <a:spcPct val="150000"/>
              </a:lnSpc>
              <a:spcBef>
                <a:spcPts val="400"/>
              </a:spcBef>
              <a:spcAft>
                <a:spcPts val="600"/>
              </a:spcAft>
            </a:pPr>
            <a:r>
              <a:rPr lang="en-IN" dirty="0"/>
              <a:t>Since 2012, the world’s best companies have depended on Workable to find and hire the people they depend on. </a:t>
            </a:r>
          </a:p>
          <a:p>
            <a:pPr marL="650240" indent="-285750">
              <a:lnSpc>
                <a:spcPct val="150000"/>
              </a:lnSpc>
              <a:spcBef>
                <a:spcPts val="400"/>
              </a:spcBef>
              <a:spcAft>
                <a:spcPts val="600"/>
              </a:spcAft>
            </a:pPr>
            <a:r>
              <a:rPr lang="en-IN" dirty="0"/>
              <a:t>Workable API displays your positions in different ways, or to extract additional information from your Workable account</a:t>
            </a:r>
          </a:p>
          <a:p>
            <a:pPr>
              <a:buNone/>
            </a:pPr>
            <a:r>
              <a:rPr lang="en-US" dirty="0"/>
              <a:t>Explain about the connector and its capabilities and how it will benefit the users.</a:t>
            </a:r>
          </a:p>
          <a:p>
            <a:pPr algn="l">
              <a:buNone/>
            </a:pPr>
            <a:r>
              <a:rPr lang="en-US" dirty="0"/>
              <a:t>       Workable API allows you to extract information about your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b="0" dirty="0"/>
              <a:t>account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b="0" dirty="0"/>
              <a:t>hiring members and recruiters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b="0" dirty="0"/>
              <a:t>pipeline stages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b="0" dirty="0"/>
              <a:t>jobs and questions</a:t>
            </a:r>
          </a:p>
          <a:p>
            <a:pPr marL="364490">
              <a:lnSpc>
                <a:spcPct val="150000"/>
              </a:lnSpc>
              <a:spcBef>
                <a:spcPts val="400"/>
              </a:spcBef>
              <a:spcAft>
                <a:spcPts val="600"/>
              </a:spcAft>
              <a:buNone/>
            </a:pPr>
            <a:endParaRPr lang="en-IN" dirty="0"/>
          </a:p>
          <a:p>
            <a:pPr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0007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To Be Continued..</a:t>
            </a:r>
            <a:br>
              <a:rPr lang="en-US" dirty="0"/>
            </a:b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3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>
            <a:lvl1pPr>
              <a:buClr>
                <a:schemeClr val="tx1"/>
              </a:buClr>
              <a:buFont typeface="Wingdings" panose="05000000000000000000" pitchFamily="2" charset="2"/>
              <a:buChar char="§"/>
            </a:lvl1pPr>
            <a:lvl2pPr>
              <a:buClr>
                <a:schemeClr val="tx1"/>
              </a:buClr>
              <a:buFont typeface="Wingdings" panose="05000000000000000000" pitchFamily="2" charset="2"/>
              <a:buChar char="§"/>
            </a:lvl2pPr>
            <a:lvl3pPr>
              <a:buClr>
                <a:schemeClr val="tx1"/>
              </a:buClr>
              <a:buFont typeface="Wingdings" panose="05000000000000000000" pitchFamily="2" charset="2"/>
              <a:buChar char="§"/>
            </a:lvl3pPr>
            <a:lvl4pPr>
              <a:buClr>
                <a:schemeClr val="tx1"/>
              </a:buClr>
              <a:buFont typeface="Symbol" panose="05050102010706020507" pitchFamily="18" charset="2"/>
              <a:buChar char="-"/>
            </a:lvl4pPr>
            <a:lvl5pPr>
              <a:buSzPct val="125000"/>
              <a:buFont typeface="Rubik" panose="00000500000000000000" pitchFamily="50" charset="-79"/>
              <a:buChar char="•"/>
            </a:lvl5pPr>
            <a:lvl6pPr>
              <a:buFont typeface="+mj-lt"/>
              <a:buAutoNum type="arabicPeriod"/>
            </a:lvl6pPr>
          </a:lstStyle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b="0" dirty="0"/>
              <a:t>scheduled events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b="0" dirty="0"/>
              <a:t>job's and/or candidate's activity</a:t>
            </a:r>
          </a:p>
          <a:p>
            <a:pPr algn="l">
              <a:buNone/>
            </a:pPr>
            <a:r>
              <a:rPr lang="en-US" dirty="0"/>
              <a:t>   Manage your candidates by: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b="0" dirty="0"/>
              <a:t>Fetching candidates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b="0" dirty="0"/>
              <a:t>Extracting detail candidate info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b="0" dirty="0"/>
              <a:t>Creating candidates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b="0" dirty="0"/>
              <a:t>Updating candidates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b="0" dirty="0"/>
              <a:t>Execute various actions on candidates e.g. copy, relocate or disqualify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b="0" dirty="0"/>
              <a:t>Adding comments or ratings</a:t>
            </a:r>
            <a:endParaRPr lang="en-US" dirty="0"/>
          </a:p>
          <a:p>
            <a:pPr marL="650240" indent="-285750">
              <a:lnSpc>
                <a:spcPct val="150000"/>
              </a:lnSpc>
              <a:spcBef>
                <a:spcPts val="400"/>
              </a:spcBef>
              <a:spcAft>
                <a:spcPts val="600"/>
              </a:spcAft>
            </a:pPr>
            <a:r>
              <a:rPr lang="en-IN" dirty="0"/>
              <a:t>Refer link </a:t>
            </a:r>
            <a:r>
              <a:rPr lang="en-IN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orkable.readme.io/v3/docs</a:t>
            </a:r>
            <a:endParaRPr lang="en-IN" dirty="0"/>
          </a:p>
          <a:p>
            <a:pPr marL="650240" indent="-285750">
              <a:lnSpc>
                <a:spcPct val="150000"/>
              </a:lnSpc>
              <a:spcBef>
                <a:spcPts val="400"/>
              </a:spcBef>
              <a:spcAft>
                <a:spcPts val="600"/>
              </a:spcAft>
            </a:pPr>
            <a:endParaRPr lang="en-IN" dirty="0"/>
          </a:p>
          <a:p>
            <a:pPr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80525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9301" y="6539400"/>
            <a:ext cx="5346700" cy="97938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© 2021 Software AG. All rights reserved. For internal use only and for Software AG Partner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1200" y="6539400"/>
            <a:ext cx="388100" cy="97938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22FF84AA-2C76-4AF1-8502-73D25D47F37C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IN"/>
              <a:t>Screenshots for workflow</a:t>
            </a:r>
          </a:p>
        </p:txBody>
      </p:sp>
      <p:sp>
        <p:nvSpPr>
          <p:cNvPr id="26" name="Subtitle 4">
            <a:extLst>
              <a:ext uri="{FF2B5EF4-FFF2-40B4-BE49-F238E27FC236}">
                <a16:creationId xmlns:a16="http://schemas.microsoft.com/office/drawing/2014/main" id="{D9EE78A4-9F9B-4CCF-965B-577CA2A1A397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/>
          <a:lstStyle/>
          <a:p>
            <a:endParaRPr lang="en-US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53B8E1E8-49F4-4789-B379-9DA4C5F4B4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/>
          <a:p>
            <a:r>
              <a:rPr lang="en-US" dirty="0"/>
              <a:t>Workflow which helps in getting the account, recruiters</a:t>
            </a:r>
            <a:r>
              <a:rPr lang="en-IN" u="sng" dirty="0">
                <a:solidFill>
                  <a:srgbClr val="000F0E"/>
                </a:solidFill>
                <a:latin typeface="Open Sans" panose="020B0606030504020204" pitchFamily="34" charset="0"/>
              </a:rPr>
              <a:t>, </a:t>
            </a:r>
            <a:r>
              <a:rPr lang="en-US" dirty="0"/>
              <a:t>Jobs and C</a:t>
            </a:r>
            <a:r>
              <a:rPr lang="en-US" b="0" dirty="0"/>
              <a:t>andidate </a:t>
            </a:r>
            <a:r>
              <a:rPr lang="en-US" dirty="0"/>
              <a:t>details and Create/Update the C</a:t>
            </a:r>
            <a:r>
              <a:rPr lang="en-US" b="0" dirty="0"/>
              <a:t>andidates </a:t>
            </a:r>
            <a:r>
              <a:rPr lang="en-US" dirty="0"/>
              <a:t>details with various aspect'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C59112FE-D504-4010-ABF5-19A0D332882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/>
          <a:p>
            <a:r>
              <a:rPr lang="en-US" dirty="0"/>
              <a:t>Select the operation to be performed by the connector.</a:t>
            </a:r>
          </a:p>
          <a:p>
            <a:endParaRPr lang="en-US" dirty="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E22E5B81-4045-4766-BE67-DC49125EFF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/>
          <a:p>
            <a:r>
              <a:rPr lang="en-US" dirty="0"/>
              <a:t>Mapping the data for the action.</a:t>
            </a:r>
          </a:p>
          <a:p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1E3D0FD7-5025-42EF-9044-CE7F8D16BA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/>
          <a:p>
            <a:r>
              <a:rPr lang="en-US" dirty="0"/>
              <a:t>Logger information of the connecter data.</a:t>
            </a:r>
          </a:p>
          <a:p>
            <a:endParaRPr lang="en-US" dirty="0"/>
          </a:p>
        </p:txBody>
      </p:sp>
      <p:sp>
        <p:nvSpPr>
          <p:cNvPr id="27" name="Content Placeholder 9">
            <a:extLst>
              <a:ext uri="{FF2B5EF4-FFF2-40B4-BE49-F238E27FC236}">
                <a16:creationId xmlns:a16="http://schemas.microsoft.com/office/drawing/2014/main" id="{CCA9955A-7AA3-42F9-8B43-3F033384A72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1"/>
            <a:ext cx="2720851" cy="2380918"/>
          </a:xfrm>
        </p:spPr>
        <p:txBody>
          <a:bodyPr/>
          <a:lstStyle/>
          <a:p>
            <a:endParaRPr lang="en-US"/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3404DF2C-B6B3-43D1-B7CB-52D9224C7980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1199" y="2132856"/>
            <a:ext cx="2720851" cy="936104"/>
          </a:xfrm>
          <a:noFill/>
        </p:spPr>
      </p:pic>
      <p:pic>
        <p:nvPicPr>
          <p:cNvPr id="16" name="Content Placeholder 15">
            <a:extLst>
              <a:ext uri="{FF2B5EF4-FFF2-40B4-BE49-F238E27FC236}">
                <a16:creationId xmlns:a16="http://schemas.microsoft.com/office/drawing/2014/main" id="{02C6F906-DE24-4EF3-9675-5583F43A4B43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24549" y="1879007"/>
            <a:ext cx="2720975" cy="1547827"/>
          </a:xfrm>
        </p:spPr>
      </p:pic>
      <p:pic>
        <p:nvPicPr>
          <p:cNvPr id="20" name="Content Placeholder 19">
            <a:extLst>
              <a:ext uri="{FF2B5EF4-FFF2-40B4-BE49-F238E27FC236}">
                <a16:creationId xmlns:a16="http://schemas.microsoft.com/office/drawing/2014/main" id="{3D9516A1-BC1E-44B5-8392-4D563B41FD53}"/>
              </a:ext>
            </a:extLst>
          </p:cNvPr>
          <p:cNvPicPr>
            <a:picLocks noGrp="1" noChangeAspect="1"/>
          </p:cNvPicPr>
          <p:nvPr>
            <p:ph sz="quarter" idx="2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84787" y="1880964"/>
            <a:ext cx="2621761" cy="1537453"/>
          </a:xfr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9B22016-F9D3-4D60-961F-8D7DA54CBC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00363" y="1863151"/>
            <a:ext cx="2720852" cy="157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2051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331</Words>
  <Application>Microsoft Office PowerPoint</Application>
  <PresentationFormat>Widescreen</PresentationFormat>
  <Paragraphs>46</Paragraphs>
  <Slides>5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Rubik</vt:lpstr>
      <vt:lpstr>Trebuchet MS</vt:lpstr>
      <vt:lpstr>Wingdings</vt:lpstr>
      <vt:lpstr>Arial</vt:lpstr>
      <vt:lpstr>Symbol</vt:lpstr>
      <vt:lpstr>Open Sans</vt:lpstr>
      <vt:lpstr>Software AG 2021</vt:lpstr>
      <vt:lpstr>Workable Provider</vt:lpstr>
      <vt:lpstr>Workable Provider</vt:lpstr>
      <vt:lpstr>To Be Continued.. </vt:lpstr>
      <vt:lpstr>Screenshots for workflow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T, Thamaraiselvi</cp:lastModifiedBy>
  <cp:revision>1</cp:revision>
  <dcterms:created xsi:type="dcterms:W3CDTF">2022-01-10T12:32:13Z</dcterms:created>
  <dcterms:modified xsi:type="dcterms:W3CDTF">2022-02-01T15:36:48Z</dcterms:modified>
</cp:coreProperties>
</file>